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1"/>
  </p:notesMasterIdLst>
  <p:sldIdLst>
    <p:sldId id="6897" r:id="rId2"/>
    <p:sldId id="2147481203" r:id="rId3"/>
    <p:sldId id="2147481204" r:id="rId4"/>
    <p:sldId id="2147481205" r:id="rId5"/>
    <p:sldId id="2147481207" r:id="rId6"/>
    <p:sldId id="2147481208" r:id="rId7"/>
    <p:sldId id="2147481209" r:id="rId8"/>
    <p:sldId id="2147481206" r:id="rId9"/>
    <p:sldId id="2147481210" r:id="rId10"/>
  </p:sldIdLst>
  <p:sldSz cx="24384000" cy="13716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1pPr>
    <a:lvl2pPr marL="0" marR="0" indent="4572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2pPr>
    <a:lvl3pPr marL="0" marR="0" indent="9144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3pPr>
    <a:lvl4pPr marL="0" marR="0" indent="13716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4pPr>
    <a:lvl5pPr marL="0" marR="0" indent="18288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5pPr>
    <a:lvl6pPr marL="0" marR="0" indent="22860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6pPr>
    <a:lvl7pPr marL="0" marR="0" indent="27432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7pPr>
    <a:lvl8pPr marL="0" marR="0" indent="32004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8pPr>
    <a:lvl9pPr marL="0" marR="0" indent="36576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32FF"/>
    <a:srgbClr val="000000"/>
    <a:srgbClr val="034C90"/>
    <a:srgbClr val="FFFD78"/>
    <a:srgbClr val="D9D9D9"/>
    <a:srgbClr val="F185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381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381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solidFill>
            <a:schemeClr val="accent1">
              <a:lumOff val="16847"/>
            </a:schemeClr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838383"/>
              </a:solidFill>
              <a:prstDash val="solid"/>
              <a:miter lim="400000"/>
            </a:ln>
          </a:left>
          <a:right>
            <a:ln w="12700" cap="flat">
              <a:solidFill>
                <a:srgbClr val="838383"/>
              </a:solidFill>
              <a:prstDash val="solid"/>
              <a:miter lim="400000"/>
            </a:ln>
          </a:right>
          <a:top>
            <a:ln w="12700" cap="flat">
              <a:solidFill>
                <a:srgbClr val="838383"/>
              </a:solidFill>
              <a:prstDash val="solid"/>
              <a:miter lim="400000"/>
            </a:ln>
          </a:top>
          <a:bottom>
            <a:ln w="12700" cap="flat">
              <a:solidFill>
                <a:srgbClr val="838383"/>
              </a:solidFill>
              <a:prstDash val="solid"/>
              <a:miter lim="400000"/>
            </a:ln>
          </a:bottom>
          <a:insideH>
            <a:ln w="12700" cap="flat">
              <a:solidFill>
                <a:srgbClr val="838383"/>
              </a:solidFill>
              <a:prstDash val="solid"/>
              <a:miter lim="400000"/>
            </a:ln>
          </a:insideH>
          <a:insideV>
            <a:ln w="12700" cap="flat">
              <a:solidFill>
                <a:srgbClr val="83838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808080"/>
              </a:solidFill>
              <a:prstDash val="solid"/>
              <a:miter lim="400000"/>
            </a:ln>
          </a:right>
          <a:top>
            <a:ln w="12700" cap="flat">
              <a:solidFill>
                <a:srgbClr val="808080"/>
              </a:solidFill>
              <a:prstDash val="solid"/>
              <a:miter lim="400000"/>
            </a:ln>
          </a:top>
          <a:bottom>
            <a:ln w="12700" cap="flat">
              <a:solidFill>
                <a:srgbClr val="808080"/>
              </a:solidFill>
              <a:prstDash val="solid"/>
              <a:miter lim="400000"/>
            </a:ln>
          </a:bottom>
          <a:insideH>
            <a:ln w="12700" cap="flat">
              <a:solidFill>
                <a:srgbClr val="808080"/>
              </a:solidFill>
              <a:prstDash val="solid"/>
              <a:miter lim="400000"/>
            </a:ln>
          </a:insideH>
          <a:insideV>
            <a:ln w="12700" cap="flat">
              <a:solidFill>
                <a:srgbClr val="808080"/>
              </a:solidFill>
              <a:prstDash val="solid"/>
              <a:miter lim="400000"/>
            </a:ln>
          </a:insideV>
        </a:tcBdr>
        <a:fill>
          <a:solidFill>
            <a:srgbClr val="88FA4F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chemeClr val="accent3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4D4D4D"/>
              </a:solidFill>
              <a:prstDash val="solid"/>
              <a:miter lim="400000"/>
            </a:ln>
          </a:right>
          <a:top>
            <a:ln w="12700" cap="flat">
              <a:solidFill>
                <a:srgbClr val="4D4D4D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4D4D4D"/>
              </a:solidFill>
              <a:prstDash val="solid"/>
              <a:miter lim="400000"/>
            </a:ln>
          </a:insideH>
          <a:insideV>
            <a:ln w="12700" cap="flat">
              <a:solidFill>
                <a:srgbClr val="4D4D4D"/>
              </a:solidFill>
              <a:prstDash val="solid"/>
              <a:miter lim="400000"/>
            </a:ln>
          </a:insideV>
        </a:tcBdr>
        <a:fill>
          <a:solidFill>
            <a:srgbClr val="60D937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chemeClr val="accent4">
              <a:hueOff val="348544"/>
              <a:lumOff val="7139"/>
            </a:schemeClr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8BB00"/>
          </a:solidFill>
        </a:fill>
      </a:tcStyle>
    </a:firstCol>
    <a:la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38100" cap="flat">
              <a:solidFill>
                <a:srgbClr val="F8BA00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464646"/>
              </a:solidFill>
              <a:prstDash val="solid"/>
              <a:miter lim="400000"/>
            </a:ln>
          </a:left>
          <a:right>
            <a:ln w="12700" cap="flat">
              <a:solidFill>
                <a:srgbClr val="464646"/>
              </a:solidFill>
              <a:prstDash val="solid"/>
              <a:miter lim="400000"/>
            </a:ln>
          </a:right>
          <a:top>
            <a:ln w="12700" cap="flat">
              <a:solidFill>
                <a:srgbClr val="464646"/>
              </a:solidFill>
              <a:prstDash val="solid"/>
              <a:miter lim="400000"/>
            </a:ln>
          </a:top>
          <a:bottom>
            <a:ln w="12700" cap="flat">
              <a:solidFill>
                <a:srgbClr val="464646"/>
              </a:solidFill>
              <a:prstDash val="solid"/>
              <a:miter lim="400000"/>
            </a:ln>
          </a:bottom>
          <a:insideH>
            <a:ln w="12700" cap="flat">
              <a:solidFill>
                <a:srgbClr val="464646"/>
              </a:solidFill>
              <a:prstDash val="solid"/>
              <a:miter lim="400000"/>
            </a:ln>
          </a:insideH>
          <a:insideV>
            <a:ln w="12700" cap="flat">
              <a:solidFill>
                <a:srgbClr val="464646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D4D5D5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C3C3C3"/>
              </a:solidFill>
              <a:prstDash val="solid"/>
              <a:miter lim="400000"/>
            </a:ln>
          </a:top>
          <a:bottom>
            <a:ln w="12700" cap="flat">
              <a:solidFill>
                <a:srgbClr val="C3C3C3"/>
              </a:solidFill>
              <a:prstDash val="solid"/>
              <a:miter lim="400000"/>
            </a:ln>
          </a:bottom>
          <a:insideH>
            <a:ln w="12700" cap="flat">
              <a:solidFill>
                <a:srgbClr val="C3C3C3"/>
              </a:solidFill>
              <a:prstDash val="solid"/>
              <a:miter lim="400000"/>
            </a:ln>
          </a:insideH>
          <a:insideV>
            <a:ln w="12700" cap="flat">
              <a:solidFill>
                <a:srgbClr val="C3C3C3"/>
              </a:solidFill>
              <a:prstDash val="solid"/>
              <a:miter lim="400000"/>
            </a:ln>
          </a:insideV>
        </a:tcBdr>
        <a:fill>
          <a:solidFill>
            <a:srgbClr val="CB2A7B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5E5E5E"/>
              </a:solidFill>
              <a:prstDash val="solid"/>
              <a:miter lim="400000"/>
            </a:ln>
          </a:right>
          <a:top>
            <a:ln w="38100" cap="flat">
              <a:solidFill>
                <a:srgbClr val="CB297B"/>
              </a:solidFill>
              <a:prstDash val="solid"/>
              <a:miter lim="400000"/>
            </a:ln>
          </a:top>
          <a:bottom>
            <a:ln w="12700" cap="flat">
              <a:solidFill>
                <a:srgbClr val="5E5E5E"/>
              </a:solidFill>
              <a:prstDash val="solid"/>
              <a:miter lim="400000"/>
            </a:ln>
          </a:bottom>
          <a:insideH>
            <a:ln w="12700" cap="flat">
              <a:solidFill>
                <a:srgbClr val="5E5E5E"/>
              </a:solidFill>
              <a:prstDash val="solid"/>
              <a:miter lim="400000"/>
            </a:ln>
          </a:insideH>
          <a:insideV>
            <a:ln w="12700" cap="flat">
              <a:solidFill>
                <a:srgbClr val="5E5E5E"/>
              </a:solidFill>
              <a:prstDash val="solid"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5E5E5E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991A5F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6C6C6C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6C6C6C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6C6C6C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D6DCE0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129"/>
    <p:restoredTop sz="96012"/>
  </p:normalViewPr>
  <p:slideViewPr>
    <p:cSldViewPr snapToGrid="0">
      <p:cViewPr varScale="1">
        <p:scale>
          <a:sx n="49" d="100"/>
          <a:sy n="49" d="100"/>
        </p:scale>
        <p:origin x="413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Shape 37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72" name="Shape 372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1pPr>
    <a:lvl2pPr indent="2286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2pPr>
    <a:lvl3pPr indent="4572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3pPr>
    <a:lvl4pPr indent="6858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4pPr>
    <a:lvl5pPr indent="9144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5pPr>
    <a:lvl6pPr indent="11430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6pPr>
    <a:lvl7pPr indent="13716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7pPr>
    <a:lvl8pPr indent="16002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8pPr>
    <a:lvl9pPr indent="18288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E30F53-ACD9-6C42-722A-C2D7D75513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92440B09-A468-9011-61E1-4F671B43AF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ADCA299-3346-2F61-D8B3-CC8CE04C9E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939860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E30F53-ACD9-6C42-722A-C2D7D75513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92440B09-A468-9011-61E1-4F671B43AF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ADCA299-3346-2F61-D8B3-CC8CE04C9E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732466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E30F53-ACD9-6C42-722A-C2D7D75513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92440B09-A468-9011-61E1-4F671B43AF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ADCA299-3346-2F61-D8B3-CC8CE04C9E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14942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E30F53-ACD9-6C42-722A-C2D7D75513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92440B09-A468-9011-61E1-4F671B43AF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ADCA299-3346-2F61-D8B3-CC8CE04C9E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367369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E30F53-ACD9-6C42-722A-C2D7D75513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92440B09-A468-9011-61E1-4F671B43AF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ADCA299-3346-2F61-D8B3-CC8CE04C9E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47467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E30F53-ACD9-6C42-722A-C2D7D75513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92440B09-A468-9011-61E1-4F671B43AF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ADCA299-3346-2F61-D8B3-CC8CE04C9E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889846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E30F53-ACD9-6C42-722A-C2D7D75513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92440B09-A468-9011-61E1-4F671B43AF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ADCA299-3346-2F61-D8B3-CC8CE04C9E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557358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E30F53-ACD9-6C42-722A-C2D7D75513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92440B09-A468-9011-61E1-4F671B43AF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AADCA299-3346-2F61-D8B3-CC8CE04C9E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068447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ig F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正文级别 1…"/>
          <p:cNvSpPr txBox="1">
            <a:spLocks noGrp="1"/>
          </p:cNvSpPr>
          <p:nvPr>
            <p:ph type="body" idx="1" hasCustomPrompt="1"/>
          </p:nvPr>
        </p:nvSpPr>
        <p:spPr>
          <a:xfrm>
            <a:off x="1206500" y="1075927"/>
            <a:ext cx="21971000" cy="7241584"/>
          </a:xfrm>
          <a:prstGeom prst="rect">
            <a:avLst/>
          </a:prstGeom>
        </p:spPr>
        <p:txBody>
          <a:bodyPr anchor="b"/>
          <a:lstStyle>
            <a:lvl1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25000" b="1" spc="-250"/>
            </a:lvl1pPr>
            <a:lvl2pPr marL="0" indent="457200" algn="ctr">
              <a:lnSpc>
                <a:spcPct val="80000"/>
              </a:lnSpc>
              <a:spcBef>
                <a:spcPts val="0"/>
              </a:spcBef>
              <a:buSzTx/>
              <a:buNone/>
              <a:defRPr sz="25000" b="1" spc="-250"/>
            </a:lvl2pPr>
            <a:lvl3pPr marL="0" indent="914400" algn="ctr">
              <a:lnSpc>
                <a:spcPct val="80000"/>
              </a:lnSpc>
              <a:spcBef>
                <a:spcPts val="0"/>
              </a:spcBef>
              <a:buSzTx/>
              <a:buNone/>
              <a:defRPr sz="25000" b="1" spc="-250"/>
            </a:lvl3pPr>
            <a:lvl4pPr marL="0" indent="1371600" algn="ctr">
              <a:lnSpc>
                <a:spcPct val="80000"/>
              </a:lnSpc>
              <a:spcBef>
                <a:spcPts val="0"/>
              </a:spcBef>
              <a:buSzTx/>
              <a:buNone/>
              <a:defRPr sz="25000" b="1" spc="-250"/>
            </a:lvl4pPr>
            <a:lvl5pPr marL="0" indent="1828800" algn="ctr">
              <a:lnSpc>
                <a:spcPct val="80000"/>
              </a:lnSpc>
              <a:spcBef>
                <a:spcPts val="0"/>
              </a:spcBef>
              <a:buSzTx/>
              <a:buNone/>
              <a:defRPr sz="25000" b="1" spc="-250"/>
            </a:lvl5pPr>
          </a:lstStyle>
          <a:p>
            <a:r>
              <a:t>100%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04" name="Fact information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06500" y="8262180"/>
            <a:ext cx="21971000" cy="93478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algn="ctr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r>
              <a:t>Fact information</a:t>
            </a:r>
          </a:p>
        </p:txBody>
      </p:sp>
      <p:sp>
        <p:nvSpPr>
          <p:cNvPr id="105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Attribution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2430025" y="10675453"/>
            <a:ext cx="20200052" cy="636979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r>
              <a:t>Attribution</a:t>
            </a:r>
          </a:p>
        </p:txBody>
      </p:sp>
      <p:sp>
        <p:nvSpPr>
          <p:cNvPr id="113" name="正文级别 1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1753923" y="4939860"/>
            <a:ext cx="20876154" cy="3836280"/>
          </a:xfrm>
          <a:prstGeom prst="rect">
            <a:avLst/>
          </a:prstGeom>
        </p:spPr>
        <p:txBody>
          <a:bodyPr/>
          <a:lstStyle>
            <a:lvl1pPr marL="638923" indent="-469900">
              <a:spcBef>
                <a:spcPts val="0"/>
              </a:spcBef>
              <a:buSzTx/>
              <a:buNone/>
              <a:defRPr sz="8500" spc="-17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  <a:lvl2pPr marL="638923" indent="-12700">
              <a:spcBef>
                <a:spcPts val="0"/>
              </a:spcBef>
              <a:buSzTx/>
              <a:buNone/>
              <a:defRPr sz="8500" spc="-17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638923" indent="444500">
              <a:spcBef>
                <a:spcPts val="0"/>
              </a:spcBef>
              <a:buSzTx/>
              <a:buNone/>
              <a:defRPr sz="8500" spc="-17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638923" indent="901700">
              <a:spcBef>
                <a:spcPts val="0"/>
              </a:spcBef>
              <a:buSzTx/>
              <a:buNone/>
              <a:defRPr sz="8500" spc="-17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638923" indent="1358900">
              <a:spcBef>
                <a:spcPts val="0"/>
              </a:spcBef>
              <a:buSzTx/>
              <a:buNone/>
              <a:defRPr sz="8500" spc="-17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</a:lstStyle>
          <a:p>
            <a:r>
              <a:t>“Notable Quote”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14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Bowl of salad with fried rice, boiled eggs, and chopsticks"/>
          <p:cNvSpPr>
            <a:spLocks noGrp="1"/>
          </p:cNvSpPr>
          <p:nvPr>
            <p:ph type="pic" sz="quarter" idx="21"/>
          </p:nvPr>
        </p:nvSpPr>
        <p:spPr>
          <a:xfrm>
            <a:off x="15760700" y="1016000"/>
            <a:ext cx="7439099" cy="594967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2" name="Bowl with salmon cakes, salad, and hummus "/>
          <p:cNvSpPr>
            <a:spLocks noGrp="1"/>
          </p:cNvSpPr>
          <p:nvPr>
            <p:ph type="pic" sz="half" idx="22"/>
          </p:nvPr>
        </p:nvSpPr>
        <p:spPr>
          <a:xfrm>
            <a:off x="13500100" y="3978275"/>
            <a:ext cx="10439400" cy="1215018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3" name="Bowl of pappardelle pasta with parsley butter, roasted hazelnuts, and shaved parmesan cheese"/>
          <p:cNvSpPr>
            <a:spLocks noGrp="1"/>
          </p:cNvSpPr>
          <p:nvPr>
            <p:ph type="pic" idx="23"/>
          </p:nvPr>
        </p:nvSpPr>
        <p:spPr>
          <a:xfrm>
            <a:off x="-139700" y="495300"/>
            <a:ext cx="16611600" cy="124587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4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bowl of salad with fried rice, boiled eggs, and chopsticks"/>
          <p:cNvSpPr>
            <a:spLocks noGrp="1"/>
          </p:cNvSpPr>
          <p:nvPr>
            <p:ph type="pic" idx="21"/>
          </p:nvPr>
        </p:nvSpPr>
        <p:spPr>
          <a:xfrm>
            <a:off x="-1333500" y="-5524500"/>
            <a:ext cx="27051000" cy="216408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32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Shape 2"/>
          <p:cNvSpPr/>
          <p:nvPr/>
        </p:nvSpPr>
        <p:spPr>
          <a:xfrm>
            <a:off x="198242" y="1063015"/>
            <a:ext cx="23949777" cy="1"/>
          </a:xfrm>
          <a:prstGeom prst="line">
            <a:avLst/>
          </a:prstGeom>
          <a:ln w="25400">
            <a:solidFill>
              <a:srgbClr val="929292"/>
            </a:solidFill>
            <a:miter lim="400000"/>
          </a:ln>
        </p:spPr>
        <p:txBody>
          <a:bodyPr lIns="121919" tIns="121919" rIns="121919" bIns="121919"/>
          <a:lstStyle/>
          <a:p>
            <a:pPr algn="l" defTabSz="1827106">
              <a:defRPr sz="3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47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405044" y="13083533"/>
            <a:ext cx="358382" cy="350630"/>
          </a:xfrm>
          <a:prstGeom prst="rect">
            <a:avLst/>
          </a:prstGeom>
        </p:spPr>
        <p:txBody>
          <a:bodyPr lIns="45704" tIns="45704" rIns="45704" bIns="45704" anchor="t"/>
          <a:lstStyle>
            <a:lvl1pPr algn="l" defTabSz="1827794">
              <a:lnSpc>
                <a:spcPct val="90000"/>
              </a:lnSpc>
              <a:spcBef>
                <a:spcPts val="500"/>
              </a:spcBef>
              <a:defRPr>
                <a:solidFill>
                  <a:srgbClr val="7D7D7D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48" name="TextBox 8"/>
          <p:cNvSpPr txBox="1"/>
          <p:nvPr/>
        </p:nvSpPr>
        <p:spPr>
          <a:xfrm>
            <a:off x="10564042" y="13060536"/>
            <a:ext cx="3566193" cy="3962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04" tIns="45704" rIns="45704" bIns="45704">
            <a:spAutoFit/>
          </a:bodyPr>
          <a:lstStyle>
            <a:lvl1pPr algn="l" defTabSz="1827794">
              <a:lnSpc>
                <a:spcPct val="90000"/>
              </a:lnSpc>
              <a:spcBef>
                <a:spcPts val="500"/>
              </a:spcBef>
              <a:defRPr sz="2000">
                <a:solidFill>
                  <a:srgbClr val="7D7D7D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Internal use – confidential </a:t>
            </a:r>
          </a:p>
        </p:txBody>
      </p:sp>
      <p:sp>
        <p:nvSpPr>
          <p:cNvPr id="150" name="TextBox 7"/>
          <p:cNvSpPr txBox="1"/>
          <p:nvPr/>
        </p:nvSpPr>
        <p:spPr>
          <a:xfrm>
            <a:off x="450748" y="13083533"/>
            <a:ext cx="3566194" cy="408909"/>
          </a:xfrm>
          <a:prstGeom prst="rect">
            <a:avLst/>
          </a:prstGeom>
          <a:ln w="12700">
            <a:miter lim="400000"/>
          </a:ln>
        </p:spPr>
        <p:txBody>
          <a:bodyPr lIns="45704" tIns="45704" rIns="45704" bIns="45704">
            <a:spAutoFit/>
          </a:bodyPr>
          <a:lstStyle/>
          <a:p>
            <a:pPr algn="l" defTabSz="1827794">
              <a:lnSpc>
                <a:spcPct val="90000"/>
              </a:lnSpc>
              <a:spcBef>
                <a:spcPts val="500"/>
              </a:spcBef>
              <a:defRPr sz="1800">
                <a:solidFill>
                  <a:srgbClr val="7D7D7D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1" name="TextBox 8"/>
          <p:cNvSpPr txBox="1"/>
          <p:nvPr/>
        </p:nvSpPr>
        <p:spPr>
          <a:xfrm>
            <a:off x="10564042" y="13060536"/>
            <a:ext cx="3566193" cy="3962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04" tIns="45704" rIns="45704" bIns="45704">
            <a:spAutoFit/>
          </a:bodyPr>
          <a:lstStyle>
            <a:lvl1pPr algn="l" defTabSz="1827794">
              <a:lnSpc>
                <a:spcPct val="90000"/>
              </a:lnSpc>
              <a:spcBef>
                <a:spcPts val="500"/>
              </a:spcBef>
              <a:defRPr sz="2000">
                <a:solidFill>
                  <a:srgbClr val="7D7D7D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Internal use – confidential </a:t>
            </a:r>
          </a:p>
        </p:txBody>
      </p:sp>
    </p:spTree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lank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标题文本"/>
          <p:cNvSpPr txBox="1">
            <a:spLocks noGrp="1"/>
          </p:cNvSpPr>
          <p:nvPr>
            <p:ph type="title"/>
          </p:nvPr>
        </p:nvSpPr>
        <p:spPr>
          <a:xfrm>
            <a:off x="1676399" y="730250"/>
            <a:ext cx="21031201" cy="2651126"/>
          </a:xfrm>
          <a:prstGeom prst="rect">
            <a:avLst/>
          </a:prstGeom>
        </p:spPr>
        <p:txBody>
          <a:bodyPr lIns="121919" tIns="121919" rIns="121919" bIns="121919" anchor="ctr"/>
          <a:lstStyle>
            <a:lvl1pPr defTabSz="1828800">
              <a:lnSpc>
                <a:spcPct val="90000"/>
              </a:lnSpc>
              <a:defRPr sz="8800" b="0" spc="0">
                <a:latin typeface="等线 Light"/>
                <a:ea typeface="等线 Light"/>
                <a:cs typeface="等线 Light"/>
                <a:sym typeface="等线 Light"/>
              </a:defRPr>
            </a:lvl1pPr>
          </a:lstStyle>
          <a:p>
            <a:r>
              <a:t>标题文本</a:t>
            </a:r>
          </a:p>
        </p:txBody>
      </p:sp>
      <p:sp>
        <p:nvSpPr>
          <p:cNvPr id="160" name="正文级别 1…"/>
          <p:cNvSpPr txBox="1">
            <a:spLocks noGrp="1"/>
          </p:cNvSpPr>
          <p:nvPr>
            <p:ph type="body" idx="1"/>
          </p:nvPr>
        </p:nvSpPr>
        <p:spPr>
          <a:xfrm>
            <a:off x="940194" y="2366431"/>
            <a:ext cx="22652570" cy="9498020"/>
          </a:xfrm>
          <a:prstGeom prst="rect">
            <a:avLst/>
          </a:prstGeom>
        </p:spPr>
        <p:txBody>
          <a:bodyPr lIns="121919" tIns="121919" rIns="121919" bIns="121919"/>
          <a:lstStyle>
            <a:lvl1pPr marL="484909" indent="-484909" defTabSz="1828800">
              <a:lnSpc>
                <a:spcPct val="100000"/>
              </a:lnSpc>
              <a:spcBef>
                <a:spcPts val="800"/>
              </a:spcBef>
              <a:buSzPct val="100000"/>
              <a:buFont typeface="Arial"/>
              <a:defRPr sz="2800">
                <a:latin typeface="等线"/>
                <a:ea typeface="等线"/>
                <a:cs typeface="等线"/>
                <a:sym typeface="等线"/>
              </a:defRPr>
            </a:lvl1pPr>
            <a:lvl2pPr marL="594014" indent="-416214" defTabSz="1828800">
              <a:lnSpc>
                <a:spcPct val="100000"/>
              </a:lnSpc>
              <a:spcBef>
                <a:spcPts val="800"/>
              </a:spcBef>
              <a:buSzPct val="100000"/>
              <a:buFont typeface="Arial"/>
              <a:buChar char="➢"/>
              <a:defRPr sz="2800">
                <a:latin typeface="等线"/>
                <a:ea typeface="等线"/>
                <a:cs typeface="等线"/>
                <a:sym typeface="等线"/>
              </a:defRPr>
            </a:lvl2pPr>
            <a:lvl3pPr marL="1085850" indent="-400050" defTabSz="1828800">
              <a:lnSpc>
                <a:spcPct val="100000"/>
              </a:lnSpc>
              <a:spcBef>
                <a:spcPts val="800"/>
              </a:spcBef>
              <a:buSzPct val="100000"/>
              <a:buFont typeface="Arial"/>
              <a:defRPr sz="2800">
                <a:latin typeface="等线"/>
                <a:ea typeface="等线"/>
                <a:cs typeface="等线"/>
                <a:sym typeface="等线"/>
              </a:defRPr>
            </a:lvl3pPr>
            <a:lvl4pPr marL="1428750" indent="-400050" defTabSz="1828800">
              <a:lnSpc>
                <a:spcPct val="100000"/>
              </a:lnSpc>
              <a:spcBef>
                <a:spcPts val="800"/>
              </a:spcBef>
              <a:buSzPct val="100000"/>
              <a:buFont typeface="Arial"/>
              <a:defRPr sz="2800">
                <a:latin typeface="等线"/>
                <a:ea typeface="等线"/>
                <a:cs typeface="等线"/>
                <a:sym typeface="等线"/>
              </a:defRPr>
            </a:lvl4pPr>
            <a:lvl5pPr marL="1771650" indent="-400050" defTabSz="1828800">
              <a:lnSpc>
                <a:spcPct val="100000"/>
              </a:lnSpc>
              <a:spcBef>
                <a:spcPts val="800"/>
              </a:spcBef>
              <a:buSzPct val="100000"/>
              <a:buFont typeface="Arial"/>
              <a:defRPr sz="2800">
                <a:latin typeface="等线"/>
                <a:ea typeface="等线"/>
                <a:cs typeface="等线"/>
                <a:sym typeface="等线"/>
              </a:defRPr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161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11785599" y="12344399"/>
            <a:ext cx="5689601" cy="736601"/>
          </a:xfrm>
          <a:prstGeom prst="rect">
            <a:avLst/>
          </a:prstGeom>
        </p:spPr>
        <p:txBody>
          <a:bodyPr lIns="121919" tIns="121919" rIns="121919" bIns="121919" anchor="ctr"/>
          <a:lstStyle>
            <a:lvl1pPr algn="r" defTabSz="1827106">
              <a:defRPr sz="32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8" name="表格"/>
          <p:cNvGraphicFramePr/>
          <p:nvPr/>
        </p:nvGraphicFramePr>
        <p:xfrm>
          <a:off x="469900" y="13335000"/>
          <a:ext cx="23441587" cy="355600"/>
        </p:xfrm>
        <a:graphic>
          <a:graphicData uri="http://schemas.openxmlformats.org/drawingml/2006/table">
            <a:tbl>
              <a:tblPr>
                <a:tableStyleId>{4C3C2611-4C71-4FC5-86AE-919BDF0F9419}</a:tableStyleId>
              </a:tblPr>
              <a:tblGrid>
                <a:gridCol w="121030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384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5600">
                <a:tc>
                  <a:txBody>
                    <a:bodyPr/>
                    <a:lstStyle/>
                    <a:p>
                      <a:pPr algn="l" defTabSz="914400">
                        <a:tabLst>
                          <a:tab pos="1282700" algn="l"/>
                        </a:tabLst>
                      </a:pPr>
                      <a:r>
                        <a:rPr sz="1400">
                          <a:solidFill>
                            <a:srgbClr val="606060"/>
                          </a:solidFill>
                          <a:latin typeface="Helvetica Neue Light"/>
                          <a:ea typeface="Helvetica Neue Light"/>
                          <a:cs typeface="Helvetica Neue Light"/>
                          <a:sym typeface="Helvetica Neue Light"/>
                        </a:rPr>
                        <a:t>10/12/2023</a:t>
                      </a:r>
                    </a:p>
                  </a:txBody>
                  <a:tcPr marL="50800" marR="50800" marT="50800" marB="50800" anchor="ctr" horzOverflow="overflow">
                    <a:lnL w="12700">
                      <a:miter lim="400000"/>
                    </a:lnL>
                    <a:lnR w="12700">
                      <a:miter lim="400000"/>
                    </a:lnR>
                    <a:lnT w="12700">
                      <a:miter lim="400000"/>
                    </a:lnT>
                    <a:lnB w="12700"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algn="r" defTabSz="914400">
                        <a:tabLst>
                          <a:tab pos="1282700" algn="l"/>
                        </a:tabLst>
                      </a:pPr>
                      <a:r>
                        <a:rPr sz="1400">
                          <a:solidFill>
                            <a:srgbClr val="606060"/>
                          </a:solidFill>
                          <a:latin typeface="Helvetica Neue Light"/>
                          <a:ea typeface="Helvetica Neue Light"/>
                          <a:cs typeface="Helvetica Neue Light"/>
                          <a:sym typeface="Helvetica Neue Light"/>
                        </a:rPr>
                        <a:t> Watch STM - Confidential</a:t>
                      </a:r>
                    </a:p>
                  </a:txBody>
                  <a:tcPr marL="50800" marR="50800" marT="50800" marB="50800" anchor="ctr" horzOverflow="overflow">
                    <a:lnL w="12700">
                      <a:miter lim="400000"/>
                    </a:lnL>
                    <a:lnR w="12700">
                      <a:miter lim="400000"/>
                    </a:lnR>
                    <a:lnT w="12700">
                      <a:miter lim="400000"/>
                    </a:lnT>
                    <a:lnB w="12700"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79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11995943" y="13119100"/>
            <a:ext cx="393701" cy="419100"/>
          </a:xfrm>
          <a:prstGeom prst="rect">
            <a:avLst/>
          </a:prstGeom>
        </p:spPr>
        <p:txBody>
          <a:bodyPr anchor="t"/>
          <a:lstStyle>
            <a:lvl1pPr defTabSz="825500">
              <a:defRPr sz="2200">
                <a:latin typeface="Gill Sans"/>
                <a:ea typeface="Gill Sans"/>
                <a:cs typeface="Gill Sans"/>
                <a:sym typeface="Gill Sans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6" name="表格"/>
          <p:cNvGraphicFramePr/>
          <p:nvPr/>
        </p:nvGraphicFramePr>
        <p:xfrm>
          <a:off x="469900" y="13335000"/>
          <a:ext cx="23441587" cy="355600"/>
        </p:xfrm>
        <a:graphic>
          <a:graphicData uri="http://schemas.openxmlformats.org/drawingml/2006/table">
            <a:tbl>
              <a:tblPr>
                <a:tableStyleId>{4C3C2611-4C71-4FC5-86AE-919BDF0F9419}</a:tableStyleId>
              </a:tblPr>
              <a:tblGrid>
                <a:gridCol w="121030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384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5600">
                <a:tc>
                  <a:txBody>
                    <a:bodyPr/>
                    <a:lstStyle/>
                    <a:p>
                      <a:pPr algn="l" defTabSz="914400">
                        <a:tabLst>
                          <a:tab pos="1282700" algn="l"/>
                        </a:tabLst>
                        <a:defRPr sz="1400">
                          <a:solidFill>
                            <a:srgbClr val="606060"/>
                          </a:solidFill>
                          <a:latin typeface="Helvetica Neue Light"/>
                          <a:ea typeface="Helvetica Neue Light"/>
                          <a:cs typeface="Helvetica Neue Light"/>
                          <a:sym typeface="Helvetica Neue Light"/>
                        </a:defRPr>
                      </a:pPr>
                      <a:endParaRPr/>
                    </a:p>
                  </a:txBody>
                  <a:tcPr marL="50800" marR="50800" marT="50800" marB="50800" anchor="ctr" horzOverflow="overflow">
                    <a:lnL w="12700">
                      <a:miter lim="400000"/>
                    </a:lnL>
                    <a:lnR w="12700">
                      <a:miter lim="400000"/>
                    </a:lnR>
                    <a:lnT w="12700">
                      <a:miter lim="400000"/>
                    </a:lnT>
                    <a:lnB w="12700"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algn="r" defTabSz="914400">
                        <a:tabLst>
                          <a:tab pos="1282700" algn="l"/>
                        </a:tabLst>
                        <a:defRPr sz="1400">
                          <a:solidFill>
                            <a:srgbClr val="606060"/>
                          </a:solidFill>
                          <a:latin typeface="Helvetica Neue Light"/>
                          <a:ea typeface="Helvetica Neue Light"/>
                          <a:cs typeface="Helvetica Neue Light"/>
                          <a:sym typeface="Helvetica Neue Light"/>
                        </a:defRPr>
                      </a:pPr>
                      <a:endParaRPr/>
                    </a:p>
                  </a:txBody>
                  <a:tcPr marL="50800" marR="50800" marT="50800" marB="50800" anchor="ctr" horzOverflow="overflow">
                    <a:lnL w="12700">
                      <a:miter lim="400000"/>
                    </a:lnL>
                    <a:lnR w="12700">
                      <a:miter lim="400000"/>
                    </a:lnR>
                    <a:lnT w="12700">
                      <a:miter lim="400000"/>
                    </a:lnT>
                    <a:lnB w="12700"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87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11995943" y="13119100"/>
            <a:ext cx="393701" cy="419100"/>
          </a:xfrm>
          <a:prstGeom prst="rect">
            <a:avLst/>
          </a:prstGeom>
        </p:spPr>
        <p:txBody>
          <a:bodyPr anchor="t"/>
          <a:lstStyle>
            <a:lvl1pPr defTabSz="825500">
              <a:defRPr sz="2200">
                <a:latin typeface="Gill Sans"/>
                <a:ea typeface="Gill Sans"/>
                <a:cs typeface="Gill Sans"/>
                <a:sym typeface="Gill Sans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标题文本"/>
          <p:cNvSpPr txBox="1">
            <a:spLocks noGrp="1"/>
          </p:cNvSpPr>
          <p:nvPr>
            <p:ph type="title"/>
          </p:nvPr>
        </p:nvSpPr>
        <p:spPr>
          <a:xfrm>
            <a:off x="1066799" y="190499"/>
            <a:ext cx="22237701" cy="838201"/>
          </a:xfrm>
          <a:prstGeom prst="rect">
            <a:avLst/>
          </a:prstGeom>
        </p:spPr>
        <p:txBody>
          <a:bodyPr anchor="ctr"/>
          <a:lstStyle>
            <a:lvl1pPr defTabSz="825500">
              <a:lnSpc>
                <a:spcPct val="100000"/>
              </a:lnSpc>
              <a:defRPr sz="4800" b="0" spc="0">
                <a:solidFill>
                  <a:srgbClr val="0096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t>标题文本</a:t>
            </a:r>
          </a:p>
        </p:txBody>
      </p:sp>
      <p:sp>
        <p:nvSpPr>
          <p:cNvPr id="210" name="正文级别 1…"/>
          <p:cNvSpPr txBox="1">
            <a:spLocks noGrp="1"/>
          </p:cNvSpPr>
          <p:nvPr>
            <p:ph type="body" idx="1"/>
          </p:nvPr>
        </p:nvSpPr>
        <p:spPr>
          <a:xfrm>
            <a:off x="1066799" y="1536699"/>
            <a:ext cx="22237701" cy="11239501"/>
          </a:xfrm>
          <a:prstGeom prst="rect">
            <a:avLst/>
          </a:prstGeom>
        </p:spPr>
        <p:txBody>
          <a:bodyPr lIns="0" tIns="0" rIns="0" bIns="0"/>
          <a:lstStyle>
            <a:lvl1pPr marL="254000" indent="-254000" defTabSz="825500">
              <a:lnSpc>
                <a:spcPct val="80000"/>
              </a:lnSpc>
              <a:spcBef>
                <a:spcPts val="1400"/>
              </a:spcBef>
              <a:buClr>
                <a:srgbClr val="929292"/>
              </a:buClr>
              <a:buSzPct val="75000"/>
              <a:defRPr sz="320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635000" indent="-254000" defTabSz="825500">
              <a:lnSpc>
                <a:spcPct val="80000"/>
              </a:lnSpc>
              <a:spcBef>
                <a:spcPts val="1400"/>
              </a:spcBef>
              <a:buClr>
                <a:srgbClr val="929292"/>
              </a:buClr>
              <a:buSzPct val="75000"/>
              <a:buChar char="-"/>
              <a:defRPr sz="320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1016000" indent="-254000" defTabSz="825500">
              <a:lnSpc>
                <a:spcPct val="80000"/>
              </a:lnSpc>
              <a:spcBef>
                <a:spcPts val="1400"/>
              </a:spcBef>
              <a:buClr>
                <a:srgbClr val="929292"/>
              </a:buClr>
              <a:buSzPct val="75000"/>
              <a:buChar char="-"/>
              <a:defRPr sz="320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1397000" indent="-254000" defTabSz="825500">
              <a:lnSpc>
                <a:spcPct val="80000"/>
              </a:lnSpc>
              <a:spcBef>
                <a:spcPts val="1400"/>
              </a:spcBef>
              <a:buClr>
                <a:srgbClr val="929292"/>
              </a:buClr>
              <a:buSzPct val="75000"/>
              <a:buChar char="-"/>
              <a:defRPr sz="320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1778000" indent="-254000" defTabSz="825500">
              <a:lnSpc>
                <a:spcPct val="80000"/>
              </a:lnSpc>
              <a:spcBef>
                <a:spcPts val="1400"/>
              </a:spcBef>
              <a:buClr>
                <a:srgbClr val="929292"/>
              </a:buClr>
              <a:buSzPct val="75000"/>
              <a:buChar char="-"/>
              <a:defRPr sz="320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211" name="TextBox 7"/>
          <p:cNvSpPr txBox="1"/>
          <p:nvPr/>
        </p:nvSpPr>
        <p:spPr>
          <a:xfrm>
            <a:off x="10564042" y="13060536"/>
            <a:ext cx="3566193" cy="3133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04" tIns="45704" rIns="45704" bIns="45704">
            <a:spAutoFit/>
          </a:bodyPr>
          <a:lstStyle>
            <a:lvl1pPr algn="l" defTabSz="1827794">
              <a:lnSpc>
                <a:spcPct val="90000"/>
              </a:lnSpc>
              <a:spcBef>
                <a:spcPts val="500"/>
              </a:spcBef>
              <a:defRPr sz="1600">
                <a:solidFill>
                  <a:srgbClr val="A6A6A6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Internal use – confidential </a:t>
            </a:r>
          </a:p>
        </p:txBody>
      </p:sp>
      <p:sp>
        <p:nvSpPr>
          <p:cNvPr id="212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11982450" y="13322300"/>
            <a:ext cx="419100" cy="457200"/>
          </a:xfrm>
          <a:prstGeom prst="rect">
            <a:avLst/>
          </a:prstGeom>
        </p:spPr>
        <p:txBody>
          <a:bodyPr anchor="t">
            <a:normAutofit/>
          </a:bodyPr>
          <a:lstStyle>
            <a:lvl1pPr defTabSz="825500">
              <a:defRPr sz="2400">
                <a:latin typeface="Gill Sans"/>
                <a:ea typeface="Gill Sans"/>
                <a:cs typeface="Gill Sans"/>
                <a:sym typeface="Gill Sans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4" name="Table 1"/>
          <p:cNvGraphicFramePr/>
          <p:nvPr/>
        </p:nvGraphicFramePr>
        <p:xfrm>
          <a:off x="12779122" y="13290550"/>
          <a:ext cx="11338488" cy="355600"/>
        </p:xfrm>
        <a:graphic>
          <a:graphicData uri="http://schemas.openxmlformats.org/drawingml/2006/table">
            <a:tbl>
              <a:tblPr>
                <a:tableStyleId>{4C3C2611-4C71-4FC5-86AE-919BDF0F9419}</a:tableStyleId>
              </a:tblPr>
              <a:tblGrid>
                <a:gridCol w="113384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55600">
                <a:tc>
                  <a:txBody>
                    <a:bodyPr/>
                    <a:lstStyle/>
                    <a:p>
                      <a:pPr algn="r" defTabSz="914400">
                        <a:tabLst>
                          <a:tab pos="1282700" algn="l"/>
                        </a:tabLst>
                        <a:defRPr sz="1400">
                          <a:solidFill>
                            <a:srgbClr val="606060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r>
                        <a:t></a:t>
                      </a:r>
                      <a:r>
                        <a:rPr sz="1200" b="1"/>
                        <a:t>WATCH</a:t>
                      </a:r>
                      <a:r>
                        <a:t> TechOps - Confidential</a:t>
                      </a:r>
                    </a:p>
                  </a:txBody>
                  <a:tcPr marL="50800" marR="50800" marT="50800" marB="50800" anchor="ctr" horzOverflow="overflow">
                    <a:lnL w="12700">
                      <a:miter lim="400000"/>
                    </a:lnL>
                    <a:lnR w="12700">
                      <a:miter lim="400000"/>
                    </a:lnR>
                    <a:lnT w="12700">
                      <a:miter lim="400000"/>
                    </a:lnT>
                    <a:lnB w="12700"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45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23963834" y="13042900"/>
            <a:ext cx="326195" cy="330200"/>
          </a:xfrm>
          <a:prstGeom prst="rect">
            <a:avLst/>
          </a:prstGeom>
        </p:spPr>
        <p:txBody>
          <a:bodyPr anchor="t"/>
          <a:lstStyle>
            <a:lvl1pPr algn="r" defTabSz="914400">
              <a:tabLst>
                <a:tab pos="914400" algn="l"/>
              </a:tabLst>
              <a:defRPr sz="1500">
                <a:solidFill>
                  <a:srgbClr val="87939D"/>
                </a:solidFill>
                <a:latin typeface="SF Hello Regular"/>
                <a:ea typeface="SF Hello Regular"/>
                <a:cs typeface="SF Hello Regular"/>
                <a:sym typeface="SF Hello Regular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vocados and limes"/>
          <p:cNvSpPr>
            <a:spLocks noGrp="1"/>
          </p:cNvSpPr>
          <p:nvPr>
            <p:ph type="pic" idx="21"/>
          </p:nvPr>
        </p:nvSpPr>
        <p:spPr>
          <a:xfrm>
            <a:off x="-1155700" y="-1295400"/>
            <a:ext cx="26746200" cy="1601893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9" name="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1206500" y="7124700"/>
            <a:ext cx="21971000" cy="4648200"/>
          </a:xfrm>
          <a:prstGeom prst="rect">
            <a:avLst/>
          </a:prstGeom>
        </p:spPr>
        <p:txBody>
          <a:bodyPr anchor="b"/>
          <a:lstStyle>
            <a:lvl1pPr>
              <a:defRPr sz="11600" spc="-232"/>
            </a:lvl1pPr>
          </a:lstStyle>
          <a:p>
            <a:r>
              <a:t>Presentation Title</a:t>
            </a:r>
          </a:p>
        </p:txBody>
      </p:sp>
      <p:sp>
        <p:nvSpPr>
          <p:cNvPr id="20" name="Author and Date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1207690" y="1106137"/>
            <a:ext cx="21968621" cy="636979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r>
              <a:t>Author and Date</a:t>
            </a:r>
          </a:p>
        </p:txBody>
      </p:sp>
      <p:sp>
        <p:nvSpPr>
          <p:cNvPr id="21" name="正文级别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206500" y="11609910"/>
            <a:ext cx="21971000" cy="1116952"/>
          </a:xfrm>
          <a:prstGeom prst="rect">
            <a:avLst/>
          </a:prstGeom>
        </p:spPr>
        <p:txBody>
          <a:bodyPr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  <a:lvl2pPr marL="0" indent="4572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2pPr>
            <a:lvl3pPr marL="0" indent="9144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3pPr>
            <a:lvl4pPr marL="0" indent="13716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4pPr>
            <a:lvl5pPr marL="0" indent="18288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5pPr>
          </a:lstStyle>
          <a:p>
            <a:r>
              <a:t>Presentation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22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4237" y="4237"/>
          <a:ext cx="4235" cy="42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85" name="think-cell Slide" r:id="rId5" imgW="6985" imgH="6985" progId="TCLayout.ActiveDocument.1">
                  <p:embed/>
                </p:oleObj>
              </mc:Choice>
              <mc:Fallback>
                <p:oleObj name="think-cell Slide" r:id="rId5" imgW="6985" imgH="698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237" y="4237"/>
                        <a:ext cx="4235" cy="423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3" y="3"/>
            <a:ext cx="423333" cy="423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400" b="1" i="0" baseline="0">
              <a:latin typeface="Helvetica"/>
              <a:ea typeface="+mj-ea"/>
              <a:cs typeface="Helvetica"/>
              <a:sym typeface="Helvetic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8392" y="1726504"/>
            <a:ext cx="21945600" cy="2286000"/>
          </a:xfrm>
          <a:prstGeom prst="rect">
            <a:avLst/>
          </a:prstGeom>
        </p:spPr>
        <p:txBody>
          <a:bodyPr/>
          <a:lstStyle>
            <a:lvl1pPr algn="l">
              <a:defRPr sz="6400" b="1">
                <a:solidFill>
                  <a:schemeClr val="bg1"/>
                </a:solidFill>
                <a:latin typeface="Helvetica" pitchFamily="34" charset="0"/>
                <a:cs typeface="Helvetica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39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Photo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owl with salmon cakes, salad, and hummus"/>
          <p:cNvSpPr>
            <a:spLocks noGrp="1"/>
          </p:cNvSpPr>
          <p:nvPr>
            <p:ph type="pic" idx="21"/>
          </p:nvPr>
        </p:nvSpPr>
        <p:spPr>
          <a:xfrm>
            <a:off x="10972800" y="-203200"/>
            <a:ext cx="12144837" cy="141351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0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1206500" y="1270000"/>
            <a:ext cx="9779000" cy="5882273"/>
          </a:xfrm>
          <a:prstGeom prst="rect">
            <a:avLst/>
          </a:prstGeom>
        </p:spPr>
        <p:txBody>
          <a:bodyPr anchor="b"/>
          <a:lstStyle/>
          <a:p>
            <a:r>
              <a:t>Slide Title</a:t>
            </a:r>
          </a:p>
        </p:txBody>
      </p:sp>
      <p:sp>
        <p:nvSpPr>
          <p:cNvPr id="31" name="正文级别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206500" y="7060576"/>
            <a:ext cx="9779000" cy="5385424"/>
          </a:xfrm>
          <a:prstGeom prst="rect">
            <a:avLst/>
          </a:prstGeom>
        </p:spPr>
        <p:txBody>
          <a:bodyPr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  <a:lvl2pPr marL="0" indent="4572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2pPr>
            <a:lvl3pPr marL="0" indent="9144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3pPr>
            <a:lvl4pPr marL="0" indent="13716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4pPr>
            <a:lvl5pPr marL="0" indent="18288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5pPr>
          </a:lstStyle>
          <a:p>
            <a:r>
              <a:t>Slide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32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12001499" y="13085233"/>
            <a:ext cx="368505" cy="3746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正文级别 1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 numCol="2" spcCol="1098550"/>
          <a:lstStyle/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50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lide Subtitl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06500" y="2372962"/>
            <a:ext cx="9779000" cy="93478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r>
              <a:t>Slide Subtitle</a:t>
            </a:r>
          </a:p>
        </p:txBody>
      </p:sp>
      <p:sp>
        <p:nvSpPr>
          <p:cNvPr id="58" name="正文级别 1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1206500" y="4248504"/>
            <a:ext cx="9779000" cy="8256630"/>
          </a:xfrm>
          <a:prstGeom prst="rect">
            <a:avLst/>
          </a:prstGeom>
        </p:spPr>
        <p:txBody>
          <a:bodyPr/>
          <a:lstStyle/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59" name="Bowl of pappardelle pasta with parsley butter, roasted hazelnuts, and shaved parmesan cheese"/>
          <p:cNvSpPr>
            <a:spLocks noGrp="1"/>
          </p:cNvSpPr>
          <p:nvPr>
            <p:ph type="pic" idx="22"/>
          </p:nvPr>
        </p:nvSpPr>
        <p:spPr>
          <a:xfrm>
            <a:off x="12192000" y="-407266"/>
            <a:ext cx="10916874" cy="14555832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0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1206500" y="1079500"/>
            <a:ext cx="9779000" cy="1435100"/>
          </a:xfrm>
          <a:prstGeom prst="rect">
            <a:avLst/>
          </a:prstGeom>
        </p:spPr>
        <p:txBody>
          <a:bodyPr/>
          <a:lstStyle/>
          <a:p>
            <a:r>
              <a:t>Slide Title</a:t>
            </a:r>
          </a:p>
        </p:txBody>
      </p:sp>
      <p:sp>
        <p:nvSpPr>
          <p:cNvPr id="61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Section Title"/>
          <p:cNvSpPr txBox="1">
            <a:spLocks noGrp="1"/>
          </p:cNvSpPr>
          <p:nvPr>
            <p:ph type="title" hasCustomPrompt="1"/>
          </p:nvPr>
        </p:nvSpPr>
        <p:spPr>
          <a:xfrm>
            <a:off x="1206496" y="4533900"/>
            <a:ext cx="21971004" cy="4648200"/>
          </a:xfrm>
          <a:prstGeom prst="rect">
            <a:avLst/>
          </a:prstGeom>
        </p:spPr>
        <p:txBody>
          <a:bodyPr anchor="ctr"/>
          <a:lstStyle>
            <a:lvl1pPr>
              <a:defRPr sz="11600" b="0" spc="-23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Section Title</a:t>
            </a:r>
          </a:p>
        </p:txBody>
      </p:sp>
      <p:sp>
        <p:nvSpPr>
          <p:cNvPr id="69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12001499" y="13085233"/>
            <a:ext cx="368505" cy="3746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1206500" y="1079500"/>
            <a:ext cx="21971000" cy="1434949"/>
          </a:xfrm>
          <a:prstGeom prst="rect">
            <a:avLst/>
          </a:prstGeom>
        </p:spPr>
        <p:txBody>
          <a:bodyPr/>
          <a:lstStyle/>
          <a:p>
            <a:r>
              <a:t>Slide Title</a:t>
            </a:r>
          </a:p>
        </p:txBody>
      </p:sp>
      <p:sp>
        <p:nvSpPr>
          <p:cNvPr id="77" name="Slide Subtitl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06500" y="2372962"/>
            <a:ext cx="21971000" cy="93478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r>
              <a:t>Slide Subtitle</a:t>
            </a:r>
          </a:p>
        </p:txBody>
      </p:sp>
      <p:sp>
        <p:nvSpPr>
          <p:cNvPr id="78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Agenda Title"/>
          <p:cNvSpPr txBox="1">
            <a:spLocks noGrp="1"/>
          </p:cNvSpPr>
          <p:nvPr>
            <p:ph type="title" hasCustomPrompt="1"/>
          </p:nvPr>
        </p:nvSpPr>
        <p:spPr>
          <a:xfrm>
            <a:off x="1206500" y="1079500"/>
            <a:ext cx="21971000" cy="1435100"/>
          </a:xfrm>
          <a:prstGeom prst="rect">
            <a:avLst/>
          </a:prstGeom>
        </p:spPr>
        <p:txBody>
          <a:bodyPr/>
          <a:lstStyle/>
          <a:p>
            <a:r>
              <a:t>Agenda Title</a:t>
            </a:r>
          </a:p>
        </p:txBody>
      </p:sp>
      <p:sp>
        <p:nvSpPr>
          <p:cNvPr id="86" name="Agenda Subtitl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06500" y="2372962"/>
            <a:ext cx="21971000" cy="93478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r>
              <a:t>Agenda Subtitle</a:t>
            </a:r>
          </a:p>
        </p:txBody>
      </p:sp>
      <p:sp>
        <p:nvSpPr>
          <p:cNvPr id="87" name="正文级别 1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/>
          <a:lstStyle>
            <a:lvl1pPr marL="0" indent="0" defTabSz="825500">
              <a:lnSpc>
                <a:spcPct val="100000"/>
              </a:lnSpc>
              <a:spcBef>
                <a:spcPts val="1800"/>
              </a:spcBef>
              <a:buSzTx/>
              <a:buNone/>
              <a:defRPr sz="5500" spc="-55"/>
            </a:lvl1pPr>
            <a:lvl2pPr marL="0" indent="457200" defTabSz="825500">
              <a:lnSpc>
                <a:spcPct val="100000"/>
              </a:lnSpc>
              <a:spcBef>
                <a:spcPts val="1800"/>
              </a:spcBef>
              <a:buSzTx/>
              <a:buNone/>
              <a:defRPr sz="5500" spc="-55"/>
            </a:lvl2pPr>
            <a:lvl3pPr marL="0" indent="914400" defTabSz="825500">
              <a:lnSpc>
                <a:spcPct val="100000"/>
              </a:lnSpc>
              <a:spcBef>
                <a:spcPts val="1800"/>
              </a:spcBef>
              <a:buSzTx/>
              <a:buNone/>
              <a:defRPr sz="5500" spc="-55"/>
            </a:lvl3pPr>
            <a:lvl4pPr marL="0" indent="1371600" defTabSz="825500">
              <a:lnSpc>
                <a:spcPct val="100000"/>
              </a:lnSpc>
              <a:spcBef>
                <a:spcPts val="1800"/>
              </a:spcBef>
              <a:buSzTx/>
              <a:buNone/>
              <a:defRPr sz="5500" spc="-55"/>
            </a:lvl4pPr>
            <a:lvl5pPr marL="0" indent="1828800" defTabSz="825500">
              <a:lnSpc>
                <a:spcPct val="100000"/>
              </a:lnSpc>
              <a:spcBef>
                <a:spcPts val="1800"/>
              </a:spcBef>
              <a:buSzTx/>
              <a:buNone/>
              <a:defRPr sz="5500" spc="-55"/>
            </a:lvl5pPr>
          </a:lstStyle>
          <a:p>
            <a:r>
              <a:t>Agenda Topics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88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正文级别 1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1206500" y="4920843"/>
            <a:ext cx="21971000" cy="387431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11600" spc="-23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  <a:lvl2pPr marL="0" indent="457200" algn="ctr">
              <a:lnSpc>
                <a:spcPct val="80000"/>
              </a:lnSpc>
              <a:spcBef>
                <a:spcPts val="0"/>
              </a:spcBef>
              <a:buSzTx/>
              <a:buNone/>
              <a:defRPr sz="11600" spc="-23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indent="914400" algn="ctr">
              <a:lnSpc>
                <a:spcPct val="80000"/>
              </a:lnSpc>
              <a:spcBef>
                <a:spcPts val="0"/>
              </a:spcBef>
              <a:buSzTx/>
              <a:buNone/>
              <a:defRPr sz="11600" spc="-23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indent="1371600" algn="ctr">
              <a:lnSpc>
                <a:spcPct val="80000"/>
              </a:lnSpc>
              <a:spcBef>
                <a:spcPts val="0"/>
              </a:spcBef>
              <a:buSzTx/>
              <a:buNone/>
              <a:defRPr sz="11600" spc="-23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indent="1828800" algn="ctr">
              <a:lnSpc>
                <a:spcPct val="80000"/>
              </a:lnSpc>
              <a:spcBef>
                <a:spcPts val="0"/>
              </a:spcBef>
              <a:buSzTx/>
              <a:buNone/>
              <a:defRPr sz="11600" spc="-23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</a:lstStyle>
          <a:p>
            <a:r>
              <a:t>Statemen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96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1206500" y="1079500"/>
            <a:ext cx="21971000" cy="14331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Slide Title</a:t>
            </a:r>
          </a:p>
        </p:txBody>
      </p:sp>
      <p:sp>
        <p:nvSpPr>
          <p:cNvPr id="3" name="正文级别 1…"/>
          <p:cNvSpPr txBox="1">
            <a:spLocks noGrp="1"/>
          </p:cNvSpPr>
          <p:nvPr>
            <p:ph type="body" idx="1" hasCustomPrompt="1"/>
          </p:nvPr>
        </p:nvSpPr>
        <p:spPr>
          <a:xfrm>
            <a:off x="1206500" y="4248504"/>
            <a:ext cx="21971000" cy="82560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12001499" y="13080999"/>
            <a:ext cx="368505" cy="37460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584200">
              <a:defRPr sz="18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4" r:id="rId14"/>
    <p:sldLayoutId id="2147483665" r:id="rId15"/>
    <p:sldLayoutId id="2147483667" r:id="rId16"/>
    <p:sldLayoutId id="2147483668" r:id="rId17"/>
    <p:sldLayoutId id="2147483670" r:id="rId18"/>
    <p:sldLayoutId id="2147483678" r:id="rId19"/>
    <p:sldLayoutId id="2147483684" r:id="rId20"/>
  </p:sldLayoutIdLst>
  <p:transition spd="med"/>
  <p:txStyles>
    <p:titleStyle>
      <a:lvl1pPr marL="0" marR="0" indent="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4572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9144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13716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18288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22860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27432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32004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36576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titleStyle>
    <p:bodyStyle>
      <a:lvl1pPr marL="6096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1pPr>
      <a:lvl2pPr marL="12192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18288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24384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30480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36576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42672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48768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54864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bodyStyle>
    <p:otherStyle>
      <a:lvl1pPr marL="0" marR="0" indent="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457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9144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1371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1828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22860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2743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32004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3657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5" Type="http://schemas.openxmlformats.org/officeDocument/2006/relationships/hyperlink" Target="ftp://10.150.63.2/Temp/Charles/TortoiseGit" TargetMode="Externa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nblogs.com/R-bear/p/17833975.html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239" y="4237"/>
          <a:ext cx="3272" cy="42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4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239" y="4237"/>
                        <a:ext cx="3272" cy="423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矩形 4"/>
          <p:cNvSpPr/>
          <p:nvPr/>
        </p:nvSpPr>
        <p:spPr>
          <a:xfrm>
            <a:off x="0" y="4876805"/>
            <a:ext cx="24384000" cy="4477472"/>
          </a:xfrm>
          <a:prstGeom prst="rect">
            <a:avLst/>
          </a:prstGeom>
          <a:gradFill flip="none" rotWithShape="1">
            <a:gsLst>
              <a:gs pos="0">
                <a:srgbClr val="0070C0">
                  <a:alpha val="48000"/>
                  <a:lumMod val="20000"/>
                  <a:lumOff val="80000"/>
                </a:srgbClr>
              </a:gs>
              <a:gs pos="74000">
                <a:srgbClr val="0070C0"/>
              </a:gs>
              <a:gs pos="100000">
                <a:srgbClr val="0070C0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l" defTabSz="1828823" hangingPunct="1">
              <a:defRPr/>
            </a:pPr>
            <a:r>
              <a:rPr lang="zh-CN" altLang="en-US" sz="7200" b="1" kern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</a:t>
            </a:r>
            <a:r>
              <a:rPr lang="zh-CN" altLang="en-US" sz="7200" b="1" kern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测试程式版本控制系统说明</a:t>
            </a:r>
            <a:endParaRPr lang="en-US" altLang="zh-CN" sz="7200" b="1" kern="12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1828823" hangingPunct="1">
              <a:defRPr/>
            </a:pPr>
            <a:r>
              <a:rPr lang="en-US" altLang="zh-CN" sz="3200" b="1" i="1" kern="1200" dirty="0">
                <a:solidFill>
                  <a:prstClr val="white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 </a:t>
            </a:r>
          </a:p>
          <a:p>
            <a:pPr algn="l" defTabSz="1828823" hangingPunct="1">
              <a:defRPr/>
            </a:pPr>
            <a:r>
              <a:rPr lang="en-US" altLang="zh-CN" sz="3200" b="1" i="1" kern="1200" dirty="0">
                <a:solidFill>
                  <a:prstClr val="white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      </a:t>
            </a:r>
          </a:p>
        </p:txBody>
      </p:sp>
      <p:sp>
        <p:nvSpPr>
          <p:cNvPr id="7" name="Text Placeholder 12"/>
          <p:cNvSpPr txBox="1"/>
          <p:nvPr/>
        </p:nvSpPr>
        <p:spPr>
          <a:xfrm>
            <a:off x="1246784" y="8394171"/>
            <a:ext cx="14643515" cy="473419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b="0" kern="1200" baseline="0">
                <a:solidFill>
                  <a:schemeClr val="tx1"/>
                </a:solidFill>
                <a:latin typeface="Aller Light" panose="02000503000000020004" pitchFamily="2" charset="0"/>
                <a:ea typeface="Roboto" pitchFamily="2" charset="0"/>
                <a:cs typeface="+mn-cs"/>
              </a:defRPr>
            </a:lvl1pPr>
            <a:lvl2pPr marL="3429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2438430"/>
            <a:r>
              <a:rPr lang="en-US" altLang="zh-CN" sz="3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5/6/28</a:t>
            </a:r>
            <a:endParaRPr lang="zh-CN" altLang="en-US" sz="32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82EEFB-F440-1D13-3925-6532AB6B7F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849912A-DB46-A54E-9615-22E62A3D51CD}"/>
              </a:ext>
            </a:extLst>
          </p:cNvPr>
          <p:cNvSpPr txBox="1"/>
          <p:nvPr/>
        </p:nvSpPr>
        <p:spPr>
          <a:xfrm>
            <a:off x="217341" y="174583"/>
            <a:ext cx="19367783" cy="10640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21917" tIns="121917" rIns="121917" bIns="121917">
            <a:normAutofit/>
          </a:bodyPr>
          <a:lstStyle/>
          <a:p>
            <a:pPr algn="l" defTabSz="825501">
              <a:lnSpc>
                <a:spcPts val="5300"/>
              </a:lnSpc>
              <a:defRPr sz="4200" b="1">
                <a:solidFill>
                  <a:srgbClr val="0096FF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kumimoji="0" lang="zh-CN" altLang="en-US" sz="4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 Neue"/>
              </a:rPr>
              <a:t>测试程序版本控制流程</a:t>
            </a:r>
            <a:endParaRPr lang="zh-CN" altLang="en-US" sz="4200" b="1" dirty="0">
              <a:solidFill>
                <a:srgbClr val="000000"/>
              </a:solidFill>
              <a:latin typeface="Helvetica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47A05344-CE97-425D-AE29-DCE8D7828B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856" y="1238614"/>
            <a:ext cx="12218277" cy="11723402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C9B7D2B2-CD05-48AB-844D-09BE36E652DF}"/>
              </a:ext>
            </a:extLst>
          </p:cNvPr>
          <p:cNvSpPr txBox="1"/>
          <p:nvPr/>
        </p:nvSpPr>
        <p:spPr>
          <a:xfrm>
            <a:off x="12576942" y="1908873"/>
            <a:ext cx="10960975" cy="95102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l"/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权限管控</a:t>
            </a:r>
            <a:endParaRPr lang="en-US" altLang="zh-CN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14350" indent="-514350" algn="l">
              <a:buAutoNum type="arabicPeriod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管理员负责服务器配置维护以及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仓库权限管理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14350" indent="-514350" algn="l">
              <a:buFontTx/>
              <a:buAutoNum type="arabicPeriod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移除工程师远程登录服务器权限，建立安全访问机制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14350" indent="-514350" algn="l">
              <a:buAutoNum type="arabicPeriod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工程师通过正式申请流程向管理员获取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仓库访问权限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14350" indent="-514350" algn="l">
              <a:buAutoNum type="arabicPeriod"/>
            </a:pP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测试程序版本控制流程</a:t>
            </a:r>
            <a:endParaRPr lang="en-US" altLang="zh-CN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14350" indent="-514350" algn="l">
              <a:buAutoNum type="arabicPeriod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工程师使用</a:t>
            </a:r>
            <a:r>
              <a:rPr lang="en-US" altLang="zh-CN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TortoiseGit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工具，将测试程序（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Image/Tools/BIOS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等）上传至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仓库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14350" indent="-514350" algn="l">
              <a:buAutoNum type="arabicPeriod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仓库自动同步程序至服务器，并发送邮件通知相关人员变更记录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14350" indent="-514350" algn="l">
              <a:buAutoNum type="arabicPeriod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产线机台从服务器自动获取最新的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Image/Tools/BIOS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等程序文件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14350" indent="-514350" algn="l">
              <a:buAutoNum type="arabicPeriod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工程师可通过</a:t>
            </a:r>
            <a:r>
              <a:rPr lang="en-US" altLang="zh-CN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TortoiseGit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查询程序的完整修改历史记录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14350" indent="-514350" algn="l">
              <a:buAutoNum type="arabicPeriod"/>
            </a:pP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主要优点与好处</a:t>
            </a:r>
            <a:endParaRPr lang="en-US" altLang="zh-CN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14350" indent="-514350" algn="l">
              <a:buAutoNum type="arabicPeriod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升安全性与稳定性：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过严格的权限分离，有效防止了对生产服务器的未授权访问和意外修改，确保了系统环境的高度稳定和安全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14350" indent="-514350" algn="l">
              <a:buAutoNum type="arabicPeriod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大幅提升效率与准确性：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动化部署取代了繁琐的手动上传，极大地节省了时间，并从根本上避免了人为操作可能导致的错漏，确保了部署任务的快速与精准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14350" indent="-514350" algn="l">
              <a:buAutoNum type="arabicPeriod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实现完全可追溯，责任明确：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于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每一次变更都有清晰记录（时间、人员、内容），当问题发生时，能够迅速定位到引入问题的具体版本，便于快速回滚和故障排查，使得责任清晰明确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14350" indent="-514350" algn="l">
              <a:buAutoNum type="arabicPeriod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保障版本一致性：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流程确保了所有产线机台从唯一的、可信的服务器源获取程序，保障了测试环境和执行版本的高度一致性，使测试结果更具可靠性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14350" indent="-514350" algn="l">
              <a:buAutoNum type="arabicPeriod"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合规性支持：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完整的操作记录满足内控审计要求，规范的权限管理符合信息安全标准，流程化管理有效控制运营风险，保障业务连续性。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89678689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82EEFB-F440-1D13-3925-6532AB6B7F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849912A-DB46-A54E-9615-22E62A3D51CD}"/>
              </a:ext>
            </a:extLst>
          </p:cNvPr>
          <p:cNvSpPr txBox="1"/>
          <p:nvPr/>
        </p:nvSpPr>
        <p:spPr>
          <a:xfrm>
            <a:off x="217341" y="174583"/>
            <a:ext cx="19367783" cy="10640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21917" tIns="121917" rIns="121917" bIns="121917">
            <a:normAutofit/>
          </a:bodyPr>
          <a:lstStyle/>
          <a:p>
            <a:pPr algn="l" defTabSz="825501">
              <a:lnSpc>
                <a:spcPts val="5300"/>
              </a:lnSpc>
              <a:defRPr sz="4200" b="1">
                <a:solidFill>
                  <a:srgbClr val="0096FF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kumimoji="0" lang="zh-CN" altLang="en-US" sz="4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 Neue"/>
              </a:rPr>
              <a:t>权限申请</a:t>
            </a:r>
            <a:endParaRPr lang="zh-CN" altLang="en-US" sz="4200" b="1" dirty="0">
              <a:solidFill>
                <a:srgbClr val="000000"/>
              </a:solidFill>
              <a:latin typeface="Helvetica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2B27DB54-5511-4D33-AC35-EA1509596F7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9944" y="1659605"/>
            <a:ext cx="16371833" cy="10835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748680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82EEFB-F440-1D13-3925-6532AB6B7F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849912A-DB46-A54E-9615-22E62A3D51CD}"/>
              </a:ext>
            </a:extLst>
          </p:cNvPr>
          <p:cNvSpPr txBox="1"/>
          <p:nvPr/>
        </p:nvSpPr>
        <p:spPr>
          <a:xfrm>
            <a:off x="217341" y="174583"/>
            <a:ext cx="19367783" cy="10640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21917" tIns="121917" rIns="121917" bIns="121917">
            <a:normAutofit/>
          </a:bodyPr>
          <a:lstStyle/>
          <a:p>
            <a:pPr algn="l" defTabSz="825501">
              <a:lnSpc>
                <a:spcPts val="5300"/>
              </a:lnSpc>
              <a:defRPr sz="4200" b="1">
                <a:solidFill>
                  <a:srgbClr val="0096FF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lang="zh-CN" altLang="en-US" sz="4200" b="1" dirty="0">
                <a:solidFill>
                  <a:srgbClr val="000000"/>
                </a:solidFill>
                <a:latin typeface="Helvetica"/>
              </a:rPr>
              <a:t>安装</a:t>
            </a:r>
            <a:r>
              <a:rPr lang="en-US" altLang="zh-CN" sz="4200" b="1" dirty="0" err="1">
                <a:solidFill>
                  <a:srgbClr val="000000"/>
                </a:solidFill>
                <a:latin typeface="Helvetica"/>
              </a:rPr>
              <a:t>TortoiseGit</a:t>
            </a:r>
            <a:r>
              <a:rPr lang="en-US" altLang="zh-CN" sz="4200" b="1" dirty="0">
                <a:solidFill>
                  <a:srgbClr val="000000"/>
                </a:solidFill>
                <a:latin typeface="Helvetica"/>
              </a:rPr>
              <a:t> &amp; </a:t>
            </a:r>
            <a:r>
              <a:rPr lang="zh-CN" altLang="en-US" sz="4200" b="1" dirty="0">
                <a:solidFill>
                  <a:srgbClr val="000000"/>
                </a:solidFill>
                <a:latin typeface="Helvetica"/>
              </a:rPr>
              <a:t>初次使用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778D7B3F-F6D2-4E17-B815-2A999A57A8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626" y="3002193"/>
            <a:ext cx="11843280" cy="9425513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B6B9571A-839E-49E4-BF5A-70F938C651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92000" y="3002193"/>
            <a:ext cx="12008374" cy="9425513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A3A79E79-76CB-4625-91F9-B567FB4E1B4D}"/>
              </a:ext>
            </a:extLst>
          </p:cNvPr>
          <p:cNvSpPr txBox="1"/>
          <p:nvPr/>
        </p:nvSpPr>
        <p:spPr>
          <a:xfrm>
            <a:off x="217341" y="1288293"/>
            <a:ext cx="12194626" cy="1200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l"/>
            <a:r>
              <a:rPr lang="zh-CN" altLang="en-US" dirty="0"/>
              <a:t>下载路径：</a:t>
            </a:r>
            <a:r>
              <a:rPr lang="en-US" altLang="zh-CN" dirty="0">
                <a:hlinkClick r:id="rId5"/>
              </a:rPr>
              <a:t>ftp://10.150.63.2/Temp/Charles/TortoiseGit</a:t>
            </a:r>
            <a:endParaRPr lang="en-US" altLang="zh-CN" dirty="0"/>
          </a:p>
          <a:p>
            <a:pPr marL="457200" indent="-457200" algn="l">
              <a:buAutoNum type="arabicPeriod"/>
            </a:pPr>
            <a:r>
              <a:rPr lang="en-US" altLang="zh-CN" dirty="0"/>
              <a:t>Git-2.50.0-64-bit.exe</a:t>
            </a:r>
            <a:r>
              <a:rPr lang="zh-CN" altLang="en-US" dirty="0"/>
              <a:t>：默认安装，参见左图</a:t>
            </a:r>
            <a:endParaRPr lang="en-US" altLang="zh-CN" dirty="0"/>
          </a:p>
          <a:p>
            <a:pPr marL="457200" indent="-457200" algn="l">
              <a:buAutoNum type="arabicPeriod"/>
            </a:pPr>
            <a:r>
              <a:rPr lang="en-US" altLang="zh-CN" dirty="0"/>
              <a:t>TortoiseGit-2.17.0.2-64bit.msi</a:t>
            </a:r>
            <a:r>
              <a:rPr lang="zh-CN" altLang="en-US" dirty="0"/>
              <a:t>：默认安装，参见有图</a:t>
            </a:r>
          </a:p>
        </p:txBody>
      </p:sp>
    </p:spTree>
    <p:extLst>
      <p:ext uri="{BB962C8B-B14F-4D97-AF65-F5344CB8AC3E}">
        <p14:creationId xmlns:p14="http://schemas.microsoft.com/office/powerpoint/2010/main" val="2443773137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82EEFB-F440-1D13-3925-6532AB6B7F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849912A-DB46-A54E-9615-22E62A3D51CD}"/>
              </a:ext>
            </a:extLst>
          </p:cNvPr>
          <p:cNvSpPr txBox="1"/>
          <p:nvPr/>
        </p:nvSpPr>
        <p:spPr>
          <a:xfrm>
            <a:off x="217341" y="1163"/>
            <a:ext cx="19367783" cy="10640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21917" tIns="121917" rIns="121917" bIns="121917">
            <a:normAutofit/>
          </a:bodyPr>
          <a:lstStyle/>
          <a:p>
            <a:pPr algn="l" defTabSz="825501">
              <a:lnSpc>
                <a:spcPts val="5300"/>
              </a:lnSpc>
              <a:defRPr sz="4200" b="1">
                <a:solidFill>
                  <a:srgbClr val="0096FF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lang="zh-CN" altLang="en-US" sz="4200" b="1" dirty="0">
                <a:solidFill>
                  <a:srgbClr val="000000"/>
                </a:solidFill>
                <a:latin typeface="Helvetica"/>
              </a:rPr>
              <a:t>安装</a:t>
            </a:r>
            <a:r>
              <a:rPr lang="en-US" altLang="zh-CN" sz="4200" b="1" dirty="0" err="1">
                <a:solidFill>
                  <a:srgbClr val="000000"/>
                </a:solidFill>
                <a:latin typeface="Helvetica"/>
              </a:rPr>
              <a:t>TortoiseGit</a:t>
            </a:r>
            <a:r>
              <a:rPr lang="en-US" altLang="zh-CN" sz="4200" b="1" dirty="0">
                <a:solidFill>
                  <a:srgbClr val="000000"/>
                </a:solidFill>
                <a:latin typeface="Helvetica"/>
              </a:rPr>
              <a:t> &amp; </a:t>
            </a:r>
            <a:r>
              <a:rPr lang="zh-CN" altLang="en-US" sz="4200" b="1" dirty="0">
                <a:solidFill>
                  <a:srgbClr val="000000"/>
                </a:solidFill>
                <a:latin typeface="Helvetica"/>
              </a:rPr>
              <a:t>初次使用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A3A79E79-76CB-4625-91F9-B567FB4E1B4D}"/>
              </a:ext>
            </a:extLst>
          </p:cNvPr>
          <p:cNvSpPr txBox="1"/>
          <p:nvPr/>
        </p:nvSpPr>
        <p:spPr>
          <a:xfrm>
            <a:off x="1021386" y="2549535"/>
            <a:ext cx="6097313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l"/>
            <a:r>
              <a:rPr lang="en-US" altLang="zh-CN" dirty="0"/>
              <a:t>3. </a:t>
            </a:r>
            <a:r>
              <a:rPr lang="en-US" altLang="zh-CN" dirty="0" err="1"/>
              <a:t>TortoiseGit</a:t>
            </a:r>
            <a:r>
              <a:rPr lang="zh-CN" altLang="en-US" dirty="0"/>
              <a:t>安装完，勾选首次启动向导</a:t>
            </a:r>
            <a:endParaRPr lang="en-US" altLang="zh-CN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CC4E739F-CEC4-46FA-8FC8-CCD6DB64A2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1386" y="3434588"/>
            <a:ext cx="9000309" cy="706755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78C7FE80-1546-4D11-A49D-7FA1AD5119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71263" y="3418822"/>
            <a:ext cx="7067550" cy="706755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CD4C0034-CC68-48D8-A265-48BB42762E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988381" y="3418822"/>
            <a:ext cx="5429376" cy="7067550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CE9F124F-1043-41B3-A07B-7A089535E2FE}"/>
              </a:ext>
            </a:extLst>
          </p:cNvPr>
          <p:cNvSpPr txBox="1"/>
          <p:nvPr/>
        </p:nvSpPr>
        <p:spPr>
          <a:xfrm>
            <a:off x="10471263" y="2549535"/>
            <a:ext cx="6097313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l"/>
            <a:r>
              <a:rPr lang="en-US" altLang="zh-CN" dirty="0"/>
              <a:t>4. </a:t>
            </a:r>
            <a:r>
              <a:rPr lang="zh-CN" altLang="en-US" dirty="0"/>
              <a:t>输入</a:t>
            </a:r>
            <a:r>
              <a:rPr lang="en-US" altLang="zh-CN" dirty="0"/>
              <a:t>Name</a:t>
            </a:r>
            <a:r>
              <a:rPr lang="zh-CN" altLang="en-US" dirty="0"/>
              <a:t>和</a:t>
            </a:r>
            <a:r>
              <a:rPr lang="en-US" altLang="zh-CN" dirty="0"/>
              <a:t>Email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5EDD8A5F-C09D-4543-AEDE-BA11738FA6A4}"/>
              </a:ext>
            </a:extLst>
          </p:cNvPr>
          <p:cNvSpPr txBox="1"/>
          <p:nvPr/>
        </p:nvSpPr>
        <p:spPr>
          <a:xfrm>
            <a:off x="17988381" y="2549534"/>
            <a:ext cx="5374233" cy="830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l"/>
            <a:r>
              <a:rPr lang="en-US" altLang="zh-CN" dirty="0"/>
              <a:t>5. </a:t>
            </a:r>
            <a:r>
              <a:rPr lang="zh-CN" altLang="en-US" dirty="0"/>
              <a:t>右击选择</a:t>
            </a:r>
            <a:r>
              <a:rPr lang="en-US" altLang="zh-CN" dirty="0"/>
              <a:t>Git Clone</a:t>
            </a:r>
            <a:r>
              <a:rPr lang="zh-CN" altLang="en-US" dirty="0"/>
              <a:t>，将服务器代码</a:t>
            </a:r>
            <a:r>
              <a:rPr lang="en-US" altLang="zh-CN" dirty="0"/>
              <a:t>Clone</a:t>
            </a:r>
            <a:r>
              <a:rPr lang="zh-CN" altLang="en-US" dirty="0"/>
              <a:t>到本地</a:t>
            </a:r>
            <a:endParaRPr lang="en-US" altLang="zh-CN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B9EBB5AB-1D24-41AD-A74F-11E87EB61E07}"/>
              </a:ext>
            </a:extLst>
          </p:cNvPr>
          <p:cNvSpPr/>
          <p:nvPr/>
        </p:nvSpPr>
        <p:spPr>
          <a:xfrm>
            <a:off x="4114800" y="6637287"/>
            <a:ext cx="3003899" cy="472965"/>
          </a:xfrm>
          <a:prstGeom prst="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F6EA7803-0B1B-4E8F-BD76-79BDD77F1A47}"/>
              </a:ext>
            </a:extLst>
          </p:cNvPr>
          <p:cNvSpPr/>
          <p:nvPr/>
        </p:nvSpPr>
        <p:spPr>
          <a:xfrm>
            <a:off x="10862442" y="5502170"/>
            <a:ext cx="4524704" cy="1135118"/>
          </a:xfrm>
          <a:prstGeom prst="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0CC0280D-36A1-4E03-BF08-BC11B32B3E92}"/>
              </a:ext>
            </a:extLst>
          </p:cNvPr>
          <p:cNvSpPr/>
          <p:nvPr/>
        </p:nvSpPr>
        <p:spPr>
          <a:xfrm>
            <a:off x="18083175" y="7373011"/>
            <a:ext cx="2427764" cy="493986"/>
          </a:xfrm>
          <a:prstGeom prst="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7859044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82EEFB-F440-1D13-3925-6532AB6B7F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923875F9-4374-406F-A55C-756FB20929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1385" y="3339990"/>
            <a:ext cx="9052309" cy="629274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8849912A-DB46-A54E-9615-22E62A3D51CD}"/>
              </a:ext>
            </a:extLst>
          </p:cNvPr>
          <p:cNvSpPr txBox="1"/>
          <p:nvPr/>
        </p:nvSpPr>
        <p:spPr>
          <a:xfrm>
            <a:off x="217341" y="174583"/>
            <a:ext cx="19367783" cy="10640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21917" tIns="121917" rIns="121917" bIns="121917">
            <a:normAutofit/>
          </a:bodyPr>
          <a:lstStyle/>
          <a:p>
            <a:pPr algn="l" defTabSz="825501">
              <a:lnSpc>
                <a:spcPts val="5300"/>
              </a:lnSpc>
              <a:defRPr sz="4200" b="1">
                <a:solidFill>
                  <a:srgbClr val="0096FF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lang="zh-CN" altLang="en-US" sz="4200" b="1" dirty="0">
                <a:solidFill>
                  <a:srgbClr val="000000"/>
                </a:solidFill>
                <a:latin typeface="Helvetica"/>
              </a:rPr>
              <a:t>安装</a:t>
            </a:r>
            <a:r>
              <a:rPr lang="en-US" altLang="zh-CN" sz="4200" b="1" dirty="0" err="1">
                <a:solidFill>
                  <a:srgbClr val="000000"/>
                </a:solidFill>
                <a:latin typeface="Helvetica"/>
              </a:rPr>
              <a:t>TortoiseGit</a:t>
            </a:r>
            <a:r>
              <a:rPr lang="en-US" altLang="zh-CN" sz="4200" b="1" dirty="0">
                <a:solidFill>
                  <a:srgbClr val="000000"/>
                </a:solidFill>
                <a:latin typeface="Helvetica"/>
              </a:rPr>
              <a:t> &amp; </a:t>
            </a:r>
            <a:r>
              <a:rPr lang="zh-CN" altLang="en-US" sz="4200" b="1" dirty="0">
                <a:solidFill>
                  <a:srgbClr val="000000"/>
                </a:solidFill>
                <a:latin typeface="Helvetica"/>
              </a:rPr>
              <a:t>初次使用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A3A79E79-76CB-4625-91F9-B567FB4E1B4D}"/>
              </a:ext>
            </a:extLst>
          </p:cNvPr>
          <p:cNvSpPr txBox="1"/>
          <p:nvPr/>
        </p:nvSpPr>
        <p:spPr>
          <a:xfrm>
            <a:off x="1021385" y="2587746"/>
            <a:ext cx="6097313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l"/>
            <a:r>
              <a:rPr lang="en-US" altLang="zh-CN" dirty="0"/>
              <a:t>6. </a:t>
            </a:r>
            <a:r>
              <a:rPr lang="zh-CN" altLang="en-US" dirty="0"/>
              <a:t>填入</a:t>
            </a:r>
            <a:r>
              <a:rPr lang="en-US" altLang="zh-CN" dirty="0"/>
              <a:t>Git</a:t>
            </a:r>
            <a:r>
              <a:rPr lang="zh-CN" altLang="en-US" dirty="0"/>
              <a:t>仓库地址</a:t>
            </a:r>
            <a:endParaRPr lang="en-US" altLang="zh-CN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F7639015-D1D1-426B-83A2-F2E950D7B1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38021" y="3339989"/>
            <a:ext cx="12800007" cy="6292741"/>
          </a:xfrm>
          <a:prstGeom prst="rect">
            <a:avLst/>
          </a:prstGeom>
        </p:spPr>
      </p:pic>
      <p:sp>
        <p:nvSpPr>
          <p:cNvPr id="15" name="矩形 14">
            <a:extLst>
              <a:ext uri="{FF2B5EF4-FFF2-40B4-BE49-F238E27FC236}">
                <a16:creationId xmlns:a16="http://schemas.microsoft.com/office/drawing/2014/main" id="{3B7C6626-BD2B-4CB3-B76E-7D9C787E2EE3}"/>
              </a:ext>
            </a:extLst>
          </p:cNvPr>
          <p:cNvSpPr/>
          <p:nvPr/>
        </p:nvSpPr>
        <p:spPr>
          <a:xfrm>
            <a:off x="1450428" y="4382814"/>
            <a:ext cx="6479627" cy="567558"/>
          </a:xfrm>
          <a:prstGeom prst="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9C01F915-EACA-4882-981C-C0D67B825A7F}"/>
              </a:ext>
            </a:extLst>
          </p:cNvPr>
          <p:cNvSpPr txBox="1"/>
          <p:nvPr/>
        </p:nvSpPr>
        <p:spPr>
          <a:xfrm>
            <a:off x="11212895" y="2587746"/>
            <a:ext cx="6097313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l"/>
            <a:r>
              <a:rPr lang="en-US" altLang="zh-CN" dirty="0"/>
              <a:t>7. </a:t>
            </a:r>
            <a:r>
              <a:rPr lang="zh-CN" altLang="en-US" dirty="0"/>
              <a:t>首次提交代码时需要输入账号和密码</a:t>
            </a:r>
            <a:endParaRPr lang="en-US" altLang="zh-CN" dirty="0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A5CFB67C-5328-447D-8AF8-35C75AAB0621}"/>
              </a:ext>
            </a:extLst>
          </p:cNvPr>
          <p:cNvSpPr/>
          <p:nvPr/>
        </p:nvSpPr>
        <p:spPr>
          <a:xfrm>
            <a:off x="14445508" y="5291958"/>
            <a:ext cx="6349211" cy="1960179"/>
          </a:xfrm>
          <a:prstGeom prst="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847401564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82EEFB-F440-1D13-3925-6532AB6B7F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849912A-DB46-A54E-9615-22E62A3D51CD}"/>
              </a:ext>
            </a:extLst>
          </p:cNvPr>
          <p:cNvSpPr txBox="1"/>
          <p:nvPr/>
        </p:nvSpPr>
        <p:spPr>
          <a:xfrm>
            <a:off x="217341" y="174583"/>
            <a:ext cx="19367783" cy="10640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21917" tIns="121917" rIns="121917" bIns="121917">
            <a:normAutofit/>
          </a:bodyPr>
          <a:lstStyle/>
          <a:p>
            <a:pPr algn="l" defTabSz="825501">
              <a:lnSpc>
                <a:spcPts val="5300"/>
              </a:lnSpc>
              <a:defRPr sz="4200" b="1">
                <a:solidFill>
                  <a:srgbClr val="0096FF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lang="zh-CN" altLang="en-US" sz="4200" b="1" dirty="0">
                <a:solidFill>
                  <a:srgbClr val="000000"/>
                </a:solidFill>
                <a:latin typeface="Helvetica"/>
              </a:rPr>
              <a:t>安装</a:t>
            </a:r>
            <a:r>
              <a:rPr lang="en-US" altLang="zh-CN" sz="4200" b="1" dirty="0" err="1">
                <a:solidFill>
                  <a:srgbClr val="000000"/>
                </a:solidFill>
                <a:latin typeface="Helvetica"/>
              </a:rPr>
              <a:t>TortoiseGit</a:t>
            </a:r>
            <a:r>
              <a:rPr lang="en-US" altLang="zh-CN" sz="4200" b="1" dirty="0">
                <a:solidFill>
                  <a:srgbClr val="000000"/>
                </a:solidFill>
                <a:latin typeface="Helvetica"/>
              </a:rPr>
              <a:t> &amp; </a:t>
            </a:r>
            <a:r>
              <a:rPr lang="zh-CN" altLang="en-US" sz="4200" b="1" dirty="0">
                <a:solidFill>
                  <a:srgbClr val="000000"/>
                </a:solidFill>
                <a:latin typeface="Helvetica"/>
              </a:rPr>
              <a:t>初次使用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70AC2532-14BF-491D-8476-DFB75BF360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206687"/>
            <a:ext cx="12144375" cy="5800725"/>
          </a:xfrm>
          <a:prstGeom prst="rect">
            <a:avLst/>
          </a:prstGeom>
        </p:spPr>
      </p:pic>
      <p:sp>
        <p:nvSpPr>
          <p:cNvPr id="15" name="矩形 14">
            <a:extLst>
              <a:ext uri="{FF2B5EF4-FFF2-40B4-BE49-F238E27FC236}">
                <a16:creationId xmlns:a16="http://schemas.microsoft.com/office/drawing/2014/main" id="{3B7C6626-BD2B-4CB3-B76E-7D9C787E2EE3}"/>
              </a:ext>
            </a:extLst>
          </p:cNvPr>
          <p:cNvSpPr/>
          <p:nvPr/>
        </p:nvSpPr>
        <p:spPr>
          <a:xfrm>
            <a:off x="4933369" y="7203905"/>
            <a:ext cx="1355834" cy="646385"/>
          </a:xfrm>
          <a:prstGeom prst="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9C01F915-EACA-4882-981C-C0D67B825A7F}"/>
              </a:ext>
            </a:extLst>
          </p:cNvPr>
          <p:cNvSpPr txBox="1"/>
          <p:nvPr/>
        </p:nvSpPr>
        <p:spPr>
          <a:xfrm>
            <a:off x="0" y="2491842"/>
            <a:ext cx="6097313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l"/>
            <a:r>
              <a:rPr lang="en-US" altLang="zh-CN" dirty="0"/>
              <a:t>8. </a:t>
            </a:r>
            <a:r>
              <a:rPr lang="zh-CN" altLang="en-US" dirty="0"/>
              <a:t>点击应用授权</a:t>
            </a:r>
            <a:endParaRPr lang="en-US" altLang="zh-CN" dirty="0"/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0807D352-3649-45D6-B370-149E2DD979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252173" y="3206687"/>
            <a:ext cx="11991975" cy="6162675"/>
          </a:xfrm>
          <a:prstGeom prst="rect">
            <a:avLst/>
          </a:prstGeom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B7DC974D-1261-402F-A24A-0457FE180C5C}"/>
              </a:ext>
            </a:extLst>
          </p:cNvPr>
          <p:cNvSpPr txBox="1"/>
          <p:nvPr/>
        </p:nvSpPr>
        <p:spPr>
          <a:xfrm>
            <a:off x="12252173" y="2491841"/>
            <a:ext cx="6097313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l"/>
            <a:r>
              <a:rPr lang="en-US" altLang="zh-CN" dirty="0"/>
              <a:t>9. </a:t>
            </a:r>
            <a:r>
              <a:rPr lang="zh-CN" altLang="en-US" dirty="0"/>
              <a:t>授权成功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137749703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82EEFB-F440-1D13-3925-6532AB6B7F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849912A-DB46-A54E-9615-22E62A3D51CD}"/>
              </a:ext>
            </a:extLst>
          </p:cNvPr>
          <p:cNvSpPr txBox="1"/>
          <p:nvPr/>
        </p:nvSpPr>
        <p:spPr>
          <a:xfrm>
            <a:off x="217341" y="174583"/>
            <a:ext cx="19367783" cy="10640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21917" tIns="121917" rIns="121917" bIns="121917">
            <a:normAutofit/>
          </a:bodyPr>
          <a:lstStyle/>
          <a:p>
            <a:pPr algn="l" defTabSz="825501">
              <a:lnSpc>
                <a:spcPts val="5300"/>
              </a:lnSpc>
              <a:defRPr sz="4200" b="1">
                <a:solidFill>
                  <a:srgbClr val="0096FF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lang="en-US" altLang="zh-CN" sz="4200" b="1" dirty="0" err="1">
                <a:solidFill>
                  <a:srgbClr val="000000"/>
                </a:solidFill>
                <a:latin typeface="Helvetica"/>
              </a:rPr>
              <a:t>TortoiseGit</a:t>
            </a:r>
            <a:r>
              <a:rPr lang="zh-CN" altLang="en-US" sz="4200" b="1" dirty="0">
                <a:solidFill>
                  <a:srgbClr val="000000"/>
                </a:solidFill>
                <a:latin typeface="Helvetica"/>
              </a:rPr>
              <a:t>使用说明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368C3001-E5EA-4D29-B458-6FC015536B4C}"/>
              </a:ext>
            </a:extLst>
          </p:cNvPr>
          <p:cNvSpPr txBox="1"/>
          <p:nvPr/>
        </p:nvSpPr>
        <p:spPr>
          <a:xfrm>
            <a:off x="669620" y="1666782"/>
            <a:ext cx="9065172" cy="8412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zh-CN" altLang="en-US" dirty="0"/>
              <a:t>基本操作参见：</a:t>
            </a:r>
            <a:r>
              <a:rPr lang="en-US" altLang="zh-CN" dirty="0">
                <a:hlinkClick r:id="rId3"/>
              </a:rPr>
              <a:t>https://www.cnblogs.com/R-bear/p/17833975.html</a:t>
            </a:r>
            <a:endParaRPr lang="en-US" altLang="zh-CN" dirty="0"/>
          </a:p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dirty="0"/>
              <a:t>常用操作：建立仓库</a:t>
            </a:r>
            <a:r>
              <a:rPr lang="en-US" altLang="zh-CN" dirty="0"/>
              <a:t>/ </a:t>
            </a:r>
            <a:r>
              <a:rPr lang="zh-CN" altLang="en-US" dirty="0"/>
              <a:t>提交代码</a:t>
            </a:r>
            <a:r>
              <a:rPr lang="en-US" altLang="zh-CN" dirty="0"/>
              <a:t>/ </a:t>
            </a:r>
            <a:r>
              <a:rPr lang="zh-CN" altLang="en-US" dirty="0"/>
              <a:t>更新代码</a:t>
            </a:r>
            <a:r>
              <a:rPr lang="en-US" altLang="zh-CN" dirty="0"/>
              <a:t>/</a:t>
            </a:r>
            <a:r>
              <a:rPr lang="zh-CN" altLang="en-US" dirty="0"/>
              <a:t> 显示日志</a:t>
            </a:r>
            <a:endParaRPr lang="en-US" altLang="zh-CN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01FC74CC-020D-42D5-8BCF-E5A1681F88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620" y="2716582"/>
            <a:ext cx="13559727" cy="8766455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E8A9EE9A-3A01-44A3-8A4B-95999DAEE1B9}"/>
              </a:ext>
            </a:extLst>
          </p:cNvPr>
          <p:cNvSpPr/>
          <p:nvPr/>
        </p:nvSpPr>
        <p:spPr>
          <a:xfrm>
            <a:off x="2198307" y="6531069"/>
            <a:ext cx="3003899" cy="472965"/>
          </a:xfrm>
          <a:prstGeom prst="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C6B2D2B8-9CBF-463C-9402-B355E7FA86A0}"/>
              </a:ext>
            </a:extLst>
          </p:cNvPr>
          <p:cNvSpPr/>
          <p:nvPr/>
        </p:nvSpPr>
        <p:spPr>
          <a:xfrm>
            <a:off x="2198306" y="5953832"/>
            <a:ext cx="3003899" cy="472965"/>
          </a:xfrm>
          <a:prstGeom prst="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D860E30C-6768-4C53-BB05-B22092007068}"/>
              </a:ext>
            </a:extLst>
          </p:cNvPr>
          <p:cNvSpPr/>
          <p:nvPr/>
        </p:nvSpPr>
        <p:spPr>
          <a:xfrm>
            <a:off x="2198306" y="7085978"/>
            <a:ext cx="3003899" cy="472965"/>
          </a:xfrm>
          <a:prstGeom prst="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866EC5CD-EF7D-464C-88C5-178A4DBEDBE1}"/>
              </a:ext>
            </a:extLst>
          </p:cNvPr>
          <p:cNvSpPr/>
          <p:nvPr/>
        </p:nvSpPr>
        <p:spPr>
          <a:xfrm>
            <a:off x="2198305" y="8218124"/>
            <a:ext cx="3003899" cy="472965"/>
          </a:xfrm>
          <a:prstGeom prst="rect">
            <a:avLst/>
          </a:prstGeom>
          <a:noFill/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383846075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82EEFB-F440-1D13-3925-6532AB6B7F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849912A-DB46-A54E-9615-22E62A3D51CD}"/>
              </a:ext>
            </a:extLst>
          </p:cNvPr>
          <p:cNvSpPr txBox="1"/>
          <p:nvPr/>
        </p:nvSpPr>
        <p:spPr>
          <a:xfrm>
            <a:off x="217341" y="174583"/>
            <a:ext cx="19367783" cy="10640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21917" tIns="121917" rIns="121917" bIns="121917">
            <a:normAutofit/>
          </a:bodyPr>
          <a:lstStyle/>
          <a:p>
            <a:pPr algn="l" defTabSz="825501">
              <a:lnSpc>
                <a:spcPts val="5300"/>
              </a:lnSpc>
              <a:defRPr sz="4200" b="1">
                <a:solidFill>
                  <a:srgbClr val="0096FF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kumimoji="0" lang="zh-CN" altLang="en-US" sz="4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 Neue"/>
              </a:rPr>
              <a:t>新提交邮件通知</a:t>
            </a:r>
            <a:endParaRPr lang="zh-CN" altLang="en-US" sz="4200" b="1" dirty="0">
              <a:solidFill>
                <a:srgbClr val="000000"/>
              </a:solidFill>
              <a:latin typeface="Helvetica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368C3001-E5EA-4D29-B458-6FC015536B4C}"/>
              </a:ext>
            </a:extLst>
          </p:cNvPr>
          <p:cNvSpPr txBox="1"/>
          <p:nvPr/>
        </p:nvSpPr>
        <p:spPr>
          <a:xfrm>
            <a:off x="669619" y="1851448"/>
            <a:ext cx="11170283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dirty="0"/>
              <a:t>邮件正文：修改者</a:t>
            </a:r>
            <a:r>
              <a:rPr lang="en-US" altLang="zh-CN" dirty="0"/>
              <a:t>/</a:t>
            </a:r>
            <a:r>
              <a:rPr lang="zh-CN" altLang="en-US" dirty="0"/>
              <a:t>修改时间</a:t>
            </a:r>
            <a:r>
              <a:rPr lang="en-US" altLang="zh-CN" dirty="0"/>
              <a:t>/</a:t>
            </a:r>
            <a:r>
              <a:rPr lang="zh-CN" altLang="en-US" dirty="0"/>
              <a:t>当前版本</a:t>
            </a:r>
            <a:r>
              <a:rPr lang="en-US" altLang="zh-CN" dirty="0"/>
              <a:t>/</a:t>
            </a:r>
            <a:r>
              <a:rPr lang="zh-CN" altLang="en-US" dirty="0"/>
              <a:t>仓库名</a:t>
            </a:r>
            <a:r>
              <a:rPr lang="en-US" altLang="zh-CN" dirty="0"/>
              <a:t>/</a:t>
            </a:r>
            <a:r>
              <a:rPr lang="zh-CN" altLang="en-US" dirty="0"/>
              <a:t>提交说明</a:t>
            </a:r>
            <a:r>
              <a:rPr lang="en-US" altLang="zh-CN" dirty="0"/>
              <a:t>/</a:t>
            </a:r>
            <a:r>
              <a:rPr lang="zh-CN" altLang="en-US" dirty="0"/>
              <a:t>版本差异等信息</a:t>
            </a:r>
            <a:endParaRPr lang="en-US" altLang="zh-CN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78838275-E861-4704-B72A-5CA167CFEA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619" y="2654524"/>
            <a:ext cx="19823824" cy="10162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74046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NZEAmJQte79ZdzsXZA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1_BasicWhite">
  <a:themeElements>
    <a:clrScheme name="21_BasicWhite">
      <a:dk1>
        <a:srgbClr val="5E5E5E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21_BasicWhite">
  <a:themeElements>
    <a:clrScheme name="21_Basic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691</TotalTime>
  <Words>501</Words>
  <Application>Microsoft Office PowerPoint</Application>
  <PresentationFormat>自定义</PresentationFormat>
  <Paragraphs>42</Paragraphs>
  <Slides>9</Slides>
  <Notes>8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22" baseType="lpstr">
      <vt:lpstr>Gill Sans</vt:lpstr>
      <vt:lpstr>Helvetica Neue</vt:lpstr>
      <vt:lpstr>Helvetica Neue Light</vt:lpstr>
      <vt:lpstr>Helvetica Neue Medium</vt:lpstr>
      <vt:lpstr>SF Hello Regular</vt:lpstr>
      <vt:lpstr>等线</vt:lpstr>
      <vt:lpstr>等线 Light</vt:lpstr>
      <vt:lpstr>微软雅黑</vt:lpstr>
      <vt:lpstr>Arial</vt:lpstr>
      <vt:lpstr>Calibri</vt:lpstr>
      <vt:lpstr>Helvetica</vt:lpstr>
      <vt:lpstr>21_BasicWhite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Charles Miao(LUXSHARE-ICT)</dc:creator>
  <cp:lastModifiedBy>Charles Miao(苗永建)</cp:lastModifiedBy>
  <cp:revision>95</cp:revision>
  <dcterms:modified xsi:type="dcterms:W3CDTF">2025-07-02T06:05:27Z</dcterms:modified>
</cp:coreProperties>
</file>